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0" r:id="rId2"/>
    <p:sldMasterId id="2147483692" r:id="rId3"/>
  </p:sldMasterIdLst>
  <p:sldIdLst>
    <p:sldId id="261" r:id="rId4"/>
    <p:sldId id="272" r:id="rId5"/>
    <p:sldId id="262" r:id="rId6"/>
    <p:sldId id="263" r:id="rId7"/>
    <p:sldId id="264" r:id="rId8"/>
    <p:sldId id="258" r:id="rId9"/>
    <p:sldId id="260" r:id="rId10"/>
    <p:sldId id="256" r:id="rId11"/>
    <p:sldId id="257" r:id="rId12"/>
    <p:sldId id="265" r:id="rId13"/>
    <p:sldId id="259" r:id="rId14"/>
    <p:sldId id="266" r:id="rId15"/>
    <p:sldId id="267" r:id="rId16"/>
    <p:sldId id="268" r:id="rId17"/>
    <p:sldId id="270" r:id="rId18"/>
    <p:sldId id="271" r:id="rId19"/>
  </p:sldIdLst>
  <p:sldSz cx="12192000" cy="11520488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70" d="100"/>
          <a:sy n="70" d="100"/>
        </p:scale>
        <p:origin x="209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1.xml"/><Relationship Id="rId7" Type="http://schemas.openxmlformats.org/officeDocument/2006/relationships/oleObject" Target="../embeddings/oleObject29.bin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3.xml"/><Relationship Id="rId7" Type="http://schemas.openxmlformats.org/officeDocument/2006/relationships/oleObject" Target="../embeddings/oleObject31.bin"/><Relationship Id="rId2" Type="http://schemas.openxmlformats.org/officeDocument/2006/relationships/tags" Target="../tags/tag3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5.xml"/><Relationship Id="rId7" Type="http://schemas.openxmlformats.org/officeDocument/2006/relationships/oleObject" Target="../embeddings/oleObject33.bin"/><Relationship Id="rId2" Type="http://schemas.openxmlformats.org/officeDocument/2006/relationships/tags" Target="../tags/tag3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7.xml"/><Relationship Id="rId7" Type="http://schemas.openxmlformats.org/officeDocument/2006/relationships/oleObject" Target="../embeddings/oleObject35.bin"/><Relationship Id="rId2" Type="http://schemas.openxmlformats.org/officeDocument/2006/relationships/tags" Target="../tags/tag3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tags" Target="../tags/tag39.xml"/><Relationship Id="rId7" Type="http://schemas.openxmlformats.org/officeDocument/2006/relationships/image" Target="../media/image10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7.xml"/><Relationship Id="rId7" Type="http://schemas.openxmlformats.org/officeDocument/2006/relationships/oleObject" Target="../embeddings/oleObject44.bin"/><Relationship Id="rId2" Type="http://schemas.openxmlformats.org/officeDocument/2006/relationships/tags" Target="../tags/tag4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9.xml"/><Relationship Id="rId7" Type="http://schemas.openxmlformats.org/officeDocument/2006/relationships/oleObject" Target="../embeddings/oleObject46.bin"/><Relationship Id="rId2" Type="http://schemas.openxmlformats.org/officeDocument/2006/relationships/tags" Target="../tags/tag4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1.xml"/><Relationship Id="rId7" Type="http://schemas.openxmlformats.org/officeDocument/2006/relationships/oleObject" Target="../embeddings/oleObject48.bin"/><Relationship Id="rId2" Type="http://schemas.openxmlformats.org/officeDocument/2006/relationships/tags" Target="../tags/tag5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3.xml"/><Relationship Id="rId7" Type="http://schemas.openxmlformats.org/officeDocument/2006/relationships/oleObject" Target="../embeddings/oleObject50.bin"/><Relationship Id="rId2" Type="http://schemas.openxmlformats.org/officeDocument/2006/relationships/tags" Target="../tags/tag5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3" Type="http://schemas.openxmlformats.org/officeDocument/2006/relationships/tags" Target="../tags/tag55.xml"/><Relationship Id="rId7" Type="http://schemas.openxmlformats.org/officeDocument/2006/relationships/image" Target="../media/image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89088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1/11/2019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64253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3639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1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319743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3667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563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1/11/2019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1134748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3423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1/11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4662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1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740526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1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91863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1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83112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1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729630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1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436861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1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632314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4234258"/>
            <a:ext cx="9144000" cy="1661993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6050924"/>
            <a:ext cx="9144000" cy="2781451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6E8790-EF43-4195-82DA-4A26D543E504}" type="datetimeFigureOut">
              <a:rPr lang="en-GB" smtClean="0"/>
              <a:t>11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10677787"/>
            <a:ext cx="2743200" cy="613359"/>
          </a:xfrm>
          <a:prstGeom prst="rect">
            <a:avLst/>
          </a:prstGeom>
        </p:spPr>
        <p:txBody>
          <a:bodyPr/>
          <a:lstStyle/>
          <a:p>
            <a:fld id="{76AEF45C-6F5E-45DC-8272-2C5CBCAF1D7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8152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3455543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1/11/2019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37827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9611" y="6225968"/>
            <a:ext cx="2193603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/>
              <a:pPr/>
              <a:t>11/11/2019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51030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/>
              <a:pPr/>
              <a:t>11/11/2019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9330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/>
              <a:pPr/>
              <a:t>11/11/2019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04039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/>
              <a:pPr/>
              <a:t>11/11/2019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78981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/>
              <a:pPr/>
              <a:t>11/11/2019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33788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11/11/2019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5629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11/11/2019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558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1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9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5263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1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1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9978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1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34382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1/11/2019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57681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rgbClr val="3C32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11/11/2019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8821" y="-120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6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7049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>
                <a:solidFill>
                  <a:srgbClr val="504678"/>
                </a:solidFill>
              </a:rPr>
              <a:pPr/>
              <a:t>11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5538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>
                <a:solidFill>
                  <a:srgbClr val="504678"/>
                </a:solidFill>
              </a:rPr>
              <a:pPr/>
              <a:t>11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8577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11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7346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>
                <a:solidFill>
                  <a:srgbClr val="504678"/>
                </a:solidFill>
              </a:rPr>
              <a:pPr/>
              <a:t>11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713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>
                <a:solidFill>
                  <a:srgbClr val="504678"/>
                </a:solidFill>
              </a:rPr>
              <a:pPr/>
              <a:t>11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4412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11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0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3540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11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0193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11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3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9766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11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5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80491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2361285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1/11/2019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35188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11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7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5027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11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0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4988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11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0965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0468324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1/11/2019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4940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746138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1/11/2019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251366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0286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1/11/2019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129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012711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1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76345006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6623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7750600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1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0126311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129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18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6" Type="http://schemas.openxmlformats.org/officeDocument/2006/relationships/oleObject" Target="../embeddings/oleObject23.bin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tags" Target="../tags/tag25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oleObject" Target="../embeddings/oleObject38.bin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41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40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vmlDrawing" Target="../drawings/vmlDrawing2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164109896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1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770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0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11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421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0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11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170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6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7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0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grpSp>
          <p:nvGrpSpPr>
            <p:cNvPr id="226" name="Group 225"/>
            <p:cNvGrpSpPr/>
            <p:nvPr/>
          </p:nvGrpSpPr>
          <p:grpSpPr>
            <a:xfrm>
              <a:off x="2586418" y="245096"/>
              <a:ext cx="5873122" cy="5902976"/>
              <a:chOff x="2586418" y="245096"/>
              <a:chExt cx="5873122" cy="5902976"/>
            </a:xfrm>
          </p:grpSpPr>
          <p:sp>
            <p:nvSpPr>
              <p:cNvPr id="7" name="Oval 6"/>
              <p:cNvSpPr/>
              <p:nvPr/>
            </p:nvSpPr>
            <p:spPr>
              <a:xfrm>
                <a:off x="2586418" y="678878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Initiat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Oval 7"/>
              <p:cNvSpPr/>
              <p:nvPr/>
            </p:nvSpPr>
            <p:spPr>
              <a:xfrm>
                <a:off x="2586418" y="2693475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Reserv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Oval 8"/>
              <p:cNvSpPr/>
              <p:nvPr/>
            </p:nvSpPr>
            <p:spPr>
              <a:xfrm>
                <a:off x="2586418" y="470807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ptur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51" name="Straight Arrow Connector 50"/>
              <p:cNvCxnSpPr>
                <a:stCxn id="7" idx="4"/>
                <a:endCxn id="8" idx="0"/>
              </p:cNvCxnSpPr>
              <p:nvPr/>
            </p:nvCxnSpPr>
            <p:spPr>
              <a:xfrm>
                <a:off x="3306418" y="2118878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52" name="Straight Arrow Connector 51"/>
              <p:cNvCxnSpPr>
                <a:stCxn id="8" idx="4"/>
                <a:endCxn id="9" idx="0"/>
              </p:cNvCxnSpPr>
              <p:nvPr/>
            </p:nvCxnSpPr>
            <p:spPr>
              <a:xfrm>
                <a:off x="3306418" y="4133475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64" name="Straight Arrow Connector 63"/>
              <p:cNvCxnSpPr>
                <a:endCxn id="7" idx="0"/>
              </p:cNvCxnSpPr>
              <p:nvPr/>
            </p:nvCxnSpPr>
            <p:spPr>
              <a:xfrm>
                <a:off x="3306418" y="245096"/>
                <a:ext cx="0" cy="433782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180" name="Oval 179"/>
              <p:cNvSpPr/>
              <p:nvPr/>
            </p:nvSpPr>
            <p:spPr>
              <a:xfrm>
                <a:off x="4859540" y="1653640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 smtClean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 smtClean="0">
                    <a:solidFill>
                      <a:schemeClr val="tx1"/>
                    </a:solidFill>
                  </a:rPr>
                </a:br>
                <a:r>
                  <a:rPr lang="da-DK" sz="1200" b="1" dirty="0" err="1" smtClean="0">
                    <a:solidFill>
                      <a:schemeClr val="tx1"/>
                    </a:solidFill>
                  </a:rPr>
                  <a:t>ByMobilePay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87" name="Elbow Connector 186"/>
              <p:cNvCxnSpPr>
                <a:stCxn id="8" idx="6"/>
                <a:endCxn id="180" idx="4"/>
              </p:cNvCxnSpPr>
              <p:nvPr/>
            </p:nvCxnSpPr>
            <p:spPr>
              <a:xfrm flipV="1">
                <a:off x="4026418" y="3093640"/>
                <a:ext cx="1553122" cy="319835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199" name="Elbow Connector 198"/>
              <p:cNvCxnSpPr>
                <a:stCxn id="7" idx="6"/>
                <a:endCxn id="180" idx="0"/>
              </p:cNvCxnSpPr>
              <p:nvPr/>
            </p:nvCxnSpPr>
            <p:spPr>
              <a:xfrm>
                <a:off x="4026418" y="1398878"/>
                <a:ext cx="1553122" cy="254762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215" name="Oval 214"/>
              <p:cNvSpPr/>
              <p:nvPr/>
            </p:nvSpPr>
            <p:spPr>
              <a:xfrm>
                <a:off x="7019540" y="167530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 smtClean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 smtClean="0">
                    <a:solidFill>
                      <a:schemeClr val="tx1"/>
                    </a:solidFill>
                  </a:rPr>
                </a:br>
                <a:r>
                  <a:rPr lang="da-DK" sz="1200" b="1" dirty="0" err="1" smtClean="0">
                    <a:solidFill>
                      <a:schemeClr val="tx1"/>
                    </a:solidFill>
                  </a:rPr>
                  <a:t>ByClient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16" name="Elbow Connector 215"/>
              <p:cNvCxnSpPr>
                <a:stCxn id="7" idx="6"/>
                <a:endCxn id="215" idx="0"/>
              </p:cNvCxnSpPr>
              <p:nvPr/>
            </p:nvCxnSpPr>
            <p:spPr>
              <a:xfrm>
                <a:off x="4026418" y="1398878"/>
                <a:ext cx="3713122" cy="276424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219" name="Elbow Connector 218"/>
              <p:cNvCxnSpPr>
                <a:stCxn id="8" idx="6"/>
                <a:endCxn id="215" idx="4"/>
              </p:cNvCxnSpPr>
              <p:nvPr/>
            </p:nvCxnSpPr>
            <p:spPr>
              <a:xfrm flipV="1">
                <a:off x="4026418" y="3115302"/>
                <a:ext cx="3713122" cy="298173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  <p:sp>
          <p:nvSpPr>
            <p:cNvPr id="17" name="Oval 16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8" idx="2"/>
              <a:endCxn id="17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80436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544158" y="631347"/>
            <a:ext cx="10549559" cy="10124264"/>
            <a:chOff x="544158" y="631347"/>
            <a:chExt cx="10549559" cy="10124264"/>
          </a:xfrm>
        </p:grpSpPr>
        <p:sp>
          <p:nvSpPr>
            <p:cNvPr id="42" name="TextBox 41"/>
            <p:cNvSpPr txBox="1"/>
            <p:nvPr/>
          </p:nvSpPr>
          <p:spPr>
            <a:xfrm>
              <a:off x="544158" y="2943582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0444851" y="947135"/>
              <a:ext cx="648866" cy="792000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15579" y="68161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70043" y="631347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78503" y="996180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41516" y="690711"/>
              <a:ext cx="644960" cy="1044000"/>
            </a:xfrm>
            <a:prstGeom prst="rect">
              <a:avLst/>
            </a:prstGeom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53635" y="1751654"/>
              <a:ext cx="23442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>
              <a:off x="4325644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>
              <a:off x="7561657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>
              <a:off x="10769284" y="1755611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7653406" y="41353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7654663" y="6637422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 flipV="1">
              <a:off x="4432768" y="5068345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/>
            <p:nvPr/>
          </p:nvCxnSpPr>
          <p:spPr>
            <a:xfrm>
              <a:off x="4431011" y="4280917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/>
            <p:nvPr/>
          </p:nvCxnSpPr>
          <p:spPr>
            <a:xfrm>
              <a:off x="4435127" y="4449793"/>
              <a:ext cx="3024000" cy="0"/>
            </a:xfrm>
            <a:prstGeom prst="straightConnector1">
              <a:avLst/>
            </a:prstGeom>
            <a:ln w="28575">
              <a:prstDash val="sysDash"/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4" name="Straight Arrow Connector 33"/>
            <p:cNvCxnSpPr/>
            <p:nvPr/>
          </p:nvCxnSpPr>
          <p:spPr>
            <a:xfrm>
              <a:off x="1189131" y="234925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/>
            <p:nvPr/>
          </p:nvCxnSpPr>
          <p:spPr>
            <a:xfrm>
              <a:off x="1180893" y="3475648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1197369" y="3265583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0" name="Straight Arrow Connector 39"/>
            <p:cNvCxnSpPr/>
            <p:nvPr/>
          </p:nvCxnSpPr>
          <p:spPr>
            <a:xfrm>
              <a:off x="1172655" y="8320580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1" name="Straight Arrow Connector 40"/>
            <p:cNvCxnSpPr/>
            <p:nvPr/>
          </p:nvCxnSpPr>
          <p:spPr>
            <a:xfrm>
              <a:off x="1189131" y="8110515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/>
          </p:nvCxnSpPr>
          <p:spPr>
            <a:xfrm>
              <a:off x="4431011" y="6984185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6" name="Arc 65"/>
            <p:cNvSpPr/>
            <p:nvPr/>
          </p:nvSpPr>
          <p:spPr>
            <a:xfrm>
              <a:off x="4222313" y="719320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67" name="Straight Arrow Connector 66"/>
            <p:cNvCxnSpPr/>
            <p:nvPr/>
          </p:nvCxnSpPr>
          <p:spPr>
            <a:xfrm flipV="1">
              <a:off x="4435410" y="7886680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8" name="TextBox 67"/>
            <p:cNvSpPr txBox="1"/>
            <p:nvPr/>
          </p:nvSpPr>
          <p:spPr>
            <a:xfrm>
              <a:off x="4354031" y="4081415"/>
              <a:ext cx="317924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-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7615656" y="3935157"/>
              <a:ext cx="3125243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onnect (</a:t>
              </a:r>
              <a:r>
                <a:rPr lang="da-DK" sz="1100" b="1" dirty="0" err="1">
                  <a:solidFill>
                    <a:schemeClr val="accent4"/>
                  </a:solidFill>
                </a:rPr>
                <a:t>QR</a:t>
              </a:r>
              <a:r>
                <a:rPr lang="da-DK" sz="1100" b="1" dirty="0">
                  <a:solidFill>
                    <a:schemeClr val="accent4"/>
                  </a:solidFill>
                </a:rPr>
                <a:t> or Bluetooth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4321377" y="4479306"/>
              <a:ext cx="324028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Store inform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reserv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1077084" y="2378132"/>
              <a:ext cx="3252828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1077083" y="3054163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081353" y="3506046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Initiat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4452144" y="484349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7674794" y="64271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Swipe</a:t>
              </a:r>
              <a:r>
                <a:rPr lang="da-DK" sz="1100" b="1" dirty="0">
                  <a:solidFill>
                    <a:schemeClr val="accent4"/>
                  </a:solidFill>
                </a:rPr>
                <a:t> to accept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4405855" y="677611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ccept 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746092" y="7382400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Reserve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4444651" y="791727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pp receip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1178838" y="790418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197867" y="835684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Reserv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544160" y="5599602"/>
              <a:ext cx="4135395" cy="846386"/>
              <a:chOff x="544160" y="6388876"/>
              <a:chExt cx="4135395" cy="846386"/>
            </a:xfrm>
          </p:grpSpPr>
          <p:sp>
            <p:nvSpPr>
              <p:cNvPr id="52" name="TextBox 51"/>
              <p:cNvSpPr txBox="1"/>
              <p:nvPr/>
            </p:nvSpPr>
            <p:spPr>
              <a:xfrm>
                <a:off x="544160" y="6388876"/>
                <a:ext cx="4135395" cy="846386"/>
              </a:xfrm>
              <a:prstGeom prst="rect">
                <a:avLst/>
              </a:prstGeom>
              <a:noFill/>
              <a:ln w="38100">
                <a:prstDash val="sysDash"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lIns="0" tIns="0" rIns="0" bIns="0" rtlCol="0">
                <a:spAutoFit/>
              </a:bodyPr>
              <a:lstStyle/>
              <a:p>
                <a:r>
                  <a:rPr lang="da-DK" sz="1100" b="1" dirty="0">
                    <a:solidFill>
                      <a:schemeClr val="accent6"/>
                    </a:solidFill>
                  </a:rPr>
                  <a:t> LOOP</a:t>
                </a:r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en-GB" sz="1100" dirty="0"/>
              </a:p>
            </p:txBody>
          </p:sp>
          <p:cxnSp>
            <p:nvCxnSpPr>
              <p:cNvPr id="53" name="Straight Arrow Connector 52"/>
              <p:cNvCxnSpPr/>
              <p:nvPr/>
            </p:nvCxnSpPr>
            <p:spPr>
              <a:xfrm>
                <a:off x="1180895" y="6920942"/>
                <a:ext cx="3016482" cy="0"/>
              </a:xfrm>
              <a:prstGeom prst="straightConnector1">
                <a:avLst/>
              </a:prstGeom>
              <a:ln w="28575">
                <a:prstDash val="sysDash"/>
                <a:headEnd type="triangl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54" name="Straight Arrow Connector 53"/>
              <p:cNvCxnSpPr/>
              <p:nvPr/>
            </p:nvCxnSpPr>
            <p:spPr>
              <a:xfrm>
                <a:off x="1197371" y="6710877"/>
                <a:ext cx="3016482" cy="0"/>
              </a:xfrm>
              <a:prstGeom prst="straightConnector1">
                <a:avLst/>
              </a:prstGeom>
              <a:ln w="28575">
                <a:headEnd type="none" w="med" len="med"/>
                <a:tailEnd type="triangl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55" name="TextBox 54"/>
              <p:cNvSpPr txBox="1"/>
              <p:nvPr/>
            </p:nvSpPr>
            <p:spPr>
              <a:xfrm>
                <a:off x="1077085" y="6499457"/>
                <a:ext cx="3244294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GET /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payments</a:t>
                </a:r>
                <a:r>
                  <a:rPr lang="da-DK" sz="1100" b="1" dirty="0">
                    <a:solidFill>
                      <a:schemeClr val="accent4"/>
                    </a:solidFill>
                  </a:rPr>
                  <a:t>/{paymentId}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1081355" y="6951340"/>
                <a:ext cx="3240025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Payment, status = 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IssuedToUser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</p:grpSp>
        <p:cxnSp>
          <p:nvCxnSpPr>
            <p:cNvPr id="64" name="Straight Arrow Connector 63"/>
            <p:cNvCxnSpPr/>
            <p:nvPr/>
          </p:nvCxnSpPr>
          <p:spPr>
            <a:xfrm>
              <a:off x="1180436" y="9335388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5" name="TextBox 64"/>
            <p:cNvSpPr txBox="1"/>
            <p:nvPr/>
          </p:nvSpPr>
          <p:spPr>
            <a:xfrm>
              <a:off x="1060150" y="8922274"/>
              <a:ext cx="3248562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pturereserv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8" name="Arc 77"/>
            <p:cNvSpPr/>
            <p:nvPr/>
          </p:nvSpPr>
          <p:spPr>
            <a:xfrm>
              <a:off x="4205379" y="961631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729157" y="9763175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err="1">
                  <a:solidFill>
                    <a:schemeClr val="accent4"/>
                  </a:solidFill>
                </a:rPr>
                <a:t>Capture</a:t>
              </a:r>
              <a:r>
                <a:rPr lang="da-DK" sz="1100" b="1" dirty="0">
                  <a:solidFill>
                    <a:schemeClr val="accent4"/>
                  </a:solidFill>
                </a:rPr>
                <a:t>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83" name="Straight Arrow Connector 82"/>
            <p:cNvCxnSpPr/>
            <p:nvPr/>
          </p:nvCxnSpPr>
          <p:spPr>
            <a:xfrm>
              <a:off x="1154118" y="1032000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85" name="TextBox 84"/>
            <p:cNvSpPr txBox="1"/>
            <p:nvPr/>
          </p:nvSpPr>
          <p:spPr>
            <a:xfrm>
              <a:off x="1179325" y="10394769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8654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8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3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1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4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8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1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54"/>
            <a:ext cx="23442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11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2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19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4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1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79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5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89943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87842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5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7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560448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1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5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0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reservation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3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6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4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39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6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6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59103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57795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03061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3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699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7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4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7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5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4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2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11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Paire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 err="1">
                <a:solidFill>
                  <a:schemeClr val="accent4"/>
                </a:solidFill>
              </a:rPr>
              <a:t>loyalty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4" name="Straight Arrow Connector 63"/>
          <p:cNvCxnSpPr/>
          <p:nvPr/>
        </p:nvCxnSpPr>
        <p:spPr>
          <a:xfrm>
            <a:off x="1180436" y="1000915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1060150" y="9596042"/>
            <a:ext cx="324856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8" name="Arc 77"/>
          <p:cNvSpPr/>
          <p:nvPr/>
        </p:nvSpPr>
        <p:spPr>
          <a:xfrm>
            <a:off x="4205379" y="102900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1" name="TextBox 80"/>
          <p:cNvSpPr txBox="1"/>
          <p:nvPr/>
        </p:nvSpPr>
        <p:spPr>
          <a:xfrm>
            <a:off x="4729157" y="10436943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83" name="Straight Arrow Connector 82"/>
          <p:cNvCxnSpPr/>
          <p:nvPr/>
        </p:nvCxnSpPr>
        <p:spPr>
          <a:xfrm>
            <a:off x="1154118" y="10993769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1179325" y="1106853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027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515283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49427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26" name="Arc 25"/>
          <p:cNvSpPr/>
          <p:nvPr/>
        </p:nvSpPr>
        <p:spPr>
          <a:xfrm>
            <a:off x="4205379" y="642179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7035157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6597529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smtClean="0">
                <a:solidFill>
                  <a:schemeClr val="accent4"/>
                </a:solidFill>
              </a:rPr>
              <a:t>Perform 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70657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notific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473644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51891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6" y="622641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50" y="596730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4118" y="727840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79325" y="735317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299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729202" y="931924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868452" y="68117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6705650" y="646706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014616" y="1065939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Arrow Connector 9"/>
          <p:cNvCxnSpPr/>
          <p:nvPr/>
        </p:nvCxnSpPr>
        <p:spPr>
          <a:xfrm>
            <a:off x="1067918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4415989" y="244668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Mobilepay </a:t>
            </a:r>
            <a:r>
              <a:rPr lang="da-DK" sz="1100" b="1" dirty="0" err="1" smtClean="0">
                <a:solidFill>
                  <a:schemeClr val="accent4"/>
                </a:solidFill>
              </a:rPr>
              <a:t>button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press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4295703" y="2235266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da-DK" sz="1100" b="1" dirty="0" err="1" smtClean="0">
                <a:solidFill>
                  <a:schemeClr val="accent4"/>
                </a:solidFill>
              </a:rPr>
              <a:t>payments</a:t>
            </a:r>
            <a:r>
              <a:rPr lang="da-DK" sz="1100" b="1" dirty="0" smtClean="0">
                <a:solidFill>
                  <a:schemeClr val="accent4"/>
                </a:solidFill>
              </a:rPr>
              <a:t>/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1" name="Straight Arrow Connector 60"/>
          <p:cNvCxnSpPr/>
          <p:nvPr/>
        </p:nvCxnSpPr>
        <p:spPr>
          <a:xfrm>
            <a:off x="4306212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>
            <a:off x="7550506" y="1751220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7180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745438" y="646706"/>
            <a:ext cx="7672226" cy="2523008"/>
            <a:chOff x="745438" y="646706"/>
            <a:chExt cx="7672226" cy="25230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244668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Bluetooth signal s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2235266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51220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2460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745438" y="646706"/>
            <a:ext cx="7672226" cy="3192829"/>
            <a:chOff x="745438" y="646706"/>
            <a:chExt cx="7672226" cy="3192829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22849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360675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BeaconI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rea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339533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0145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63353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  <p:cxnSp>
          <p:nvCxnSpPr>
            <p:cNvPr id="14" name="Straight Arrow Connector 13"/>
            <p:cNvCxnSpPr/>
            <p:nvPr/>
          </p:nvCxnSpPr>
          <p:spPr>
            <a:xfrm>
              <a:off x="4405850" y="31491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4258710" y="2945309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Notification on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llback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UR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16" name="Straight Arrow Connector 15"/>
            <p:cNvCxnSpPr/>
            <p:nvPr/>
          </p:nvCxnSpPr>
          <p:spPr>
            <a:xfrm>
              <a:off x="1189364" y="218014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1189364" y="2626385"/>
              <a:ext cx="6240486" cy="7633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/>
          </p:nvSpPr>
          <p:spPr>
            <a:xfrm>
              <a:off x="2058953" y="2387767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Checkin 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002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-552246" y="646706"/>
            <a:ext cx="8969910" cy="4813428"/>
            <a:chOff x="-552246" y="646706"/>
            <a:chExt cx="8969910" cy="481342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64201" y="491693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ndicatio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that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Mobilepay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oul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be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us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331925" y="4701478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072" y="1761170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199525" y="673686"/>
              <a:ext cx="644960" cy="1044000"/>
            </a:xfrm>
            <a:prstGeom prst="rect">
              <a:avLst/>
            </a:prstGeom>
          </p:spPr>
        </p:pic>
        <p:cxnSp>
          <p:nvCxnSpPr>
            <p:cNvPr id="18" name="Straight Arrow Connector 17"/>
            <p:cNvCxnSpPr/>
            <p:nvPr/>
          </p:nvCxnSpPr>
          <p:spPr>
            <a:xfrm>
              <a:off x="4477892" y="29039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4494368" y="26938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841156" y="2371868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 </a:t>
              </a:r>
              <a:r>
                <a:rPr lang="da-DK" sz="1100" b="1" dirty="0">
                  <a:solidFill>
                    <a:schemeClr val="accent4"/>
                  </a:solidFill>
                </a:rPr>
                <a:t>=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fals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4466516" y="40253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4482992" y="38152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 =  tru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1060314" y="176613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>
              <a:off x="7572576" y="178205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9" name="Picture 2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316059" y="931924"/>
              <a:ext cx="648866" cy="792000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/>
          </p:nvSpPr>
          <p:spPr>
            <a:xfrm>
              <a:off x="-552246" y="115615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3381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" name="Group 225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08458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" name="Group 182"/>
          <p:cNvGrpSpPr/>
          <p:nvPr/>
        </p:nvGrpSpPr>
        <p:grpSpPr>
          <a:xfrm>
            <a:off x="145710" y="70181"/>
            <a:ext cx="9677782" cy="8756762"/>
            <a:chOff x="145710" y="70181"/>
            <a:chExt cx="9677782" cy="8756762"/>
          </a:xfrm>
        </p:grpSpPr>
        <p:sp>
          <p:nvSpPr>
            <p:cNvPr id="5" name="Oval 4"/>
            <p:cNvSpPr/>
            <p:nvPr/>
          </p:nvSpPr>
          <p:spPr>
            <a:xfrm>
              <a:off x="2784381" y="5039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repa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6" name="Oval 5"/>
            <p:cNvSpPr/>
            <p:nvPr/>
          </p:nvSpPr>
          <p:spPr>
            <a:xfrm>
              <a:off x="3864380" y="2416131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2784381" y="537234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Arrow Connector 9"/>
            <p:cNvCxnSpPr>
              <a:endCxn id="5" idx="0"/>
            </p:cNvCxnSpPr>
            <p:nvPr/>
          </p:nvCxnSpPr>
          <p:spPr>
            <a:xfrm>
              <a:off x="3504381" y="70181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1" name="Oval 10"/>
            <p:cNvSpPr/>
            <p:nvPr/>
          </p:nvSpPr>
          <p:spPr>
            <a:xfrm>
              <a:off x="6223493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3" name="Elbow Connector 12"/>
            <p:cNvCxnSpPr>
              <a:stCxn id="5" idx="6"/>
              <a:endCxn id="11" idx="0"/>
            </p:cNvCxnSpPr>
            <p:nvPr/>
          </p:nvCxnSpPr>
          <p:spPr>
            <a:xfrm>
              <a:off x="4224381" y="1223963"/>
              <a:ext cx="2719112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45710" y="424345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8383492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7" name="Elbow Connector 16"/>
            <p:cNvCxnSpPr>
              <a:stCxn id="5" idx="6"/>
              <a:endCxn id="16" idx="0"/>
            </p:cNvCxnSpPr>
            <p:nvPr/>
          </p:nvCxnSpPr>
          <p:spPr>
            <a:xfrm>
              <a:off x="4224381" y="1223963"/>
              <a:ext cx="4879111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8" name="Elbow Connector 17"/>
            <p:cNvCxnSpPr>
              <a:stCxn id="6" idx="4"/>
              <a:endCxn id="7" idx="0"/>
            </p:cNvCxnSpPr>
            <p:nvPr/>
          </p:nvCxnSpPr>
          <p:spPr>
            <a:xfrm rot="5400000">
              <a:off x="3286274" y="4074239"/>
              <a:ext cx="1516215" cy="1079999"/>
            </a:xfrm>
            <a:prstGeom prst="bentConnector3">
              <a:avLst>
                <a:gd name="adj1" fmla="val 50622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7" name="Oval 26"/>
            <p:cNvSpPr/>
            <p:nvPr/>
          </p:nvSpPr>
          <p:spPr>
            <a:xfrm>
              <a:off x="2784381" y="738694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9" name="Oval 28"/>
            <p:cNvSpPr/>
            <p:nvPr/>
          </p:nvSpPr>
          <p:spPr>
            <a:xfrm>
              <a:off x="1505267" y="241775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ai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0" name="Elbow Connector 29"/>
            <p:cNvCxnSpPr>
              <a:stCxn id="5" idx="4"/>
              <a:endCxn id="29" idx="0"/>
            </p:cNvCxnSpPr>
            <p:nvPr/>
          </p:nvCxnSpPr>
          <p:spPr>
            <a:xfrm rot="5400000">
              <a:off x="2627928" y="1541302"/>
              <a:ext cx="473793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4" name="Elbow Connector 33"/>
            <p:cNvCxnSpPr>
              <a:stCxn id="29" idx="4"/>
              <a:endCxn id="7" idx="0"/>
            </p:cNvCxnSpPr>
            <p:nvPr/>
          </p:nvCxnSpPr>
          <p:spPr>
            <a:xfrm rot="16200000" flipH="1">
              <a:off x="2107529" y="3975494"/>
              <a:ext cx="1514590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Straight Arrow Connector 38"/>
            <p:cNvCxnSpPr>
              <a:stCxn id="7" idx="4"/>
              <a:endCxn id="27" idx="0"/>
            </p:cNvCxnSpPr>
            <p:nvPr/>
          </p:nvCxnSpPr>
          <p:spPr>
            <a:xfrm>
              <a:off x="3504381" y="6812346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2" name="Elbow Connector 41"/>
            <p:cNvCxnSpPr>
              <a:stCxn id="7" idx="6"/>
              <a:endCxn id="11" idx="4"/>
            </p:cNvCxnSpPr>
            <p:nvPr/>
          </p:nvCxnSpPr>
          <p:spPr>
            <a:xfrm flipV="1">
              <a:off x="4224381" y="3856130"/>
              <a:ext cx="2719112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7" name="Elbow Connector 56"/>
            <p:cNvCxnSpPr>
              <a:stCxn id="5" idx="4"/>
              <a:endCxn id="6" idx="0"/>
            </p:cNvCxnSpPr>
            <p:nvPr/>
          </p:nvCxnSpPr>
          <p:spPr>
            <a:xfrm rot="16200000" flipH="1">
              <a:off x="3808296" y="1640047"/>
              <a:ext cx="472168" cy="1079999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71" name="Elbow Connector 70"/>
            <p:cNvCxnSpPr>
              <a:stCxn id="7" idx="6"/>
              <a:endCxn id="16" idx="4"/>
            </p:cNvCxnSpPr>
            <p:nvPr/>
          </p:nvCxnSpPr>
          <p:spPr>
            <a:xfrm flipV="1">
              <a:off x="4224381" y="3856130"/>
              <a:ext cx="4879111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1" name="Elbow Connector 90"/>
            <p:cNvCxnSpPr>
              <a:stCxn id="29" idx="2"/>
              <a:endCxn id="14" idx="0"/>
            </p:cNvCxnSpPr>
            <p:nvPr/>
          </p:nvCxnSpPr>
          <p:spPr>
            <a:xfrm rot="10800000" flipV="1">
              <a:off x="865711" y="3137755"/>
              <a:ext cx="639557" cy="110569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4" name="Elbow Connector 93"/>
            <p:cNvCxnSpPr>
              <a:stCxn id="7" idx="2"/>
              <a:endCxn id="14" idx="4"/>
            </p:cNvCxnSpPr>
            <p:nvPr/>
          </p:nvCxnSpPr>
          <p:spPr>
            <a:xfrm rot="10800000">
              <a:off x="865711" y="5683456"/>
              <a:ext cx="1918671" cy="408891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1" name="Straight Arrow Connector 170"/>
            <p:cNvCxnSpPr>
              <a:stCxn id="6" idx="6"/>
              <a:endCxn id="11" idx="2"/>
            </p:cNvCxnSpPr>
            <p:nvPr/>
          </p:nvCxnSpPr>
          <p:spPr>
            <a:xfrm flipV="1">
              <a:off x="5304380" y="3136130"/>
              <a:ext cx="919113" cy="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7" name="Elbow Connector 176"/>
            <p:cNvCxnSpPr>
              <a:stCxn id="6" idx="6"/>
              <a:endCxn id="16" idx="0"/>
            </p:cNvCxnSpPr>
            <p:nvPr/>
          </p:nvCxnSpPr>
          <p:spPr>
            <a:xfrm flipV="1">
              <a:off x="5304380" y="2416130"/>
              <a:ext cx="3799112" cy="720001"/>
            </a:xfrm>
            <a:prstGeom prst="bentConnector4">
              <a:avLst>
                <a:gd name="adj1" fmla="val 11244"/>
                <a:gd name="adj2" fmla="val 17233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29591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313296" y="245096"/>
            <a:ext cx="8146244" cy="7917573"/>
            <a:chOff x="313296" y="245096"/>
            <a:chExt cx="8146244" cy="7917573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serv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86418" y="672266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306418" y="6148072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26418" y="2395302"/>
              <a:ext cx="4433122" cy="3032770"/>
            </a:xfrm>
            <a:prstGeom prst="bentConnector3">
              <a:avLst>
                <a:gd name="adj1" fmla="val 105157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13296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53296" y="5428072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75639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" name="Group 67"/>
          <p:cNvGrpSpPr/>
          <p:nvPr/>
        </p:nvGrpSpPr>
        <p:grpSpPr>
          <a:xfrm>
            <a:off x="303671" y="181355"/>
            <a:ext cx="9381573" cy="10705265"/>
            <a:chOff x="303671" y="181355"/>
            <a:chExt cx="9381573" cy="10705265"/>
          </a:xfrm>
        </p:grpSpPr>
        <p:sp>
          <p:nvSpPr>
            <p:cNvPr id="7" name="Oval 6"/>
            <p:cNvSpPr/>
            <p:nvPr/>
          </p:nvSpPr>
          <p:spPr>
            <a:xfrm>
              <a:off x="2576793" y="61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repa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76793" y="541742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76793" y="743202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serv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296793" y="6857426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296793" y="181355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6085244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16793" y="4215137"/>
              <a:ext cx="2788451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16793" y="1335137"/>
              <a:ext cx="2788451" cy="1440000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03671" y="541742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43671" y="6137426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8245244" y="279679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16793" y="1335137"/>
              <a:ext cx="4948451" cy="14616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16793" y="4236799"/>
              <a:ext cx="4948451" cy="190062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76793" y="944662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296793" y="8872023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16793" y="3516799"/>
              <a:ext cx="5668451" cy="4635224"/>
            </a:xfrm>
            <a:prstGeom prst="bentConnector3">
              <a:avLst>
                <a:gd name="adj1" fmla="val 104033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03671" y="743202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43671" y="8152023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8" name="Oval 27"/>
            <p:cNvSpPr/>
            <p:nvPr/>
          </p:nvSpPr>
          <p:spPr>
            <a:xfrm>
              <a:off x="3812121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1331841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ai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6" name="Elbow Connector 35"/>
            <p:cNvCxnSpPr>
              <a:stCxn id="7" idx="4"/>
              <a:endCxn id="30" idx="0"/>
            </p:cNvCxnSpPr>
            <p:nvPr/>
          </p:nvCxnSpPr>
          <p:spPr>
            <a:xfrm rot="5400000">
              <a:off x="2314317" y="1792661"/>
              <a:ext cx="720000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Elbow Connector 38"/>
            <p:cNvCxnSpPr>
              <a:stCxn id="7" idx="4"/>
              <a:endCxn id="28" idx="0"/>
            </p:cNvCxnSpPr>
            <p:nvPr/>
          </p:nvCxnSpPr>
          <p:spPr>
            <a:xfrm rot="16200000" flipH="1">
              <a:off x="3554457" y="1797473"/>
              <a:ext cx="720000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3" name="Elbow Connector 42"/>
            <p:cNvCxnSpPr>
              <a:stCxn id="30" idx="4"/>
              <a:endCxn id="8" idx="0"/>
            </p:cNvCxnSpPr>
            <p:nvPr/>
          </p:nvCxnSpPr>
          <p:spPr>
            <a:xfrm rot="16200000" flipH="1">
              <a:off x="2073173" y="4193805"/>
              <a:ext cx="1202289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6" name="Elbow Connector 45"/>
            <p:cNvCxnSpPr>
              <a:stCxn id="28" idx="4"/>
              <a:endCxn id="8" idx="0"/>
            </p:cNvCxnSpPr>
            <p:nvPr/>
          </p:nvCxnSpPr>
          <p:spPr>
            <a:xfrm rot="5400000">
              <a:off x="3313313" y="4198617"/>
              <a:ext cx="1202289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9" name="Elbow Connector 48"/>
            <p:cNvCxnSpPr>
              <a:stCxn id="30" idx="2"/>
              <a:endCxn id="204" idx="0"/>
            </p:cNvCxnSpPr>
            <p:nvPr/>
          </p:nvCxnSpPr>
          <p:spPr>
            <a:xfrm rot="10800000" flipV="1">
              <a:off x="1023671" y="3495136"/>
              <a:ext cx="308170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3" name="Straight Arrow Connector 52"/>
            <p:cNvCxnSpPr>
              <a:stCxn id="28" idx="6"/>
              <a:endCxn id="180" idx="2"/>
            </p:cNvCxnSpPr>
            <p:nvPr/>
          </p:nvCxnSpPr>
          <p:spPr>
            <a:xfrm>
              <a:off x="5252121" y="3495137"/>
              <a:ext cx="833123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1" name="Elbow Connector 60"/>
            <p:cNvCxnSpPr>
              <a:stCxn id="28" idx="6"/>
              <a:endCxn id="215" idx="0"/>
            </p:cNvCxnSpPr>
            <p:nvPr/>
          </p:nvCxnSpPr>
          <p:spPr>
            <a:xfrm flipV="1">
              <a:off x="5252121" y="2796799"/>
              <a:ext cx="3713123" cy="698338"/>
            </a:xfrm>
            <a:prstGeom prst="bentConnector4">
              <a:avLst>
                <a:gd name="adj1" fmla="val 11531"/>
                <a:gd name="adj2" fmla="val 18407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36207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3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192222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450478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265994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206781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223669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609611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588604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461187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490099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568761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186831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172205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226620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269299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429445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440379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504785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57182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567971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613237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48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2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456917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715173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530689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471476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488364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725882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754794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833456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451526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436900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491315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53399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694140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705074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769480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836515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1162358" y="634390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>
            <a:off x="1178834" y="613384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25622" y="581184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50" name="TextBox 49"/>
          <p:cNvSpPr txBox="1"/>
          <p:nvPr/>
        </p:nvSpPr>
        <p:spPr>
          <a:xfrm>
            <a:off x="1058548" y="592828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062817" y="638016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55721" y="9108830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>
            <a:off x="1172197" y="889876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1161903" y="869243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180932" y="914509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15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9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4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2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5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9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2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64"/>
            <a:ext cx="23442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21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3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20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5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2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80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6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9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5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9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939229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918222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6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69593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2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6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1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5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4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7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5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4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7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8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7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72652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9759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4285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4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700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8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5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6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5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2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5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3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21"/>
            <a:ext cx="324002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PairedWithUser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br>
              <a:rPr lang="da-DK" sz="1100" b="1" dirty="0" smtClean="0">
                <a:solidFill>
                  <a:schemeClr val="accent4"/>
                </a:solidFill>
              </a:rPr>
            </a:br>
            <a:r>
              <a:rPr lang="da-DK" sz="1100" b="1" dirty="0" err="1" smtClean="0">
                <a:solidFill>
                  <a:schemeClr val="accent4"/>
                </a:solidFill>
              </a:rPr>
              <a:t>loyalty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740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7"/>
            <a:ext cx="648866" cy="792000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2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3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/>
          <p:nvPr/>
        </p:nvCxnSpPr>
        <p:spPr>
          <a:xfrm>
            <a:off x="4308710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/>
          <p:nvPr/>
        </p:nvCxnSpPr>
        <p:spPr>
          <a:xfrm>
            <a:off x="7544723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>
            <a:off x="10752350" y="1752982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>
            <a:off x="7636472" y="1922224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/>
          <p:nvPr/>
        </p:nvCxnSpPr>
        <p:spPr>
          <a:xfrm>
            <a:off x="7637729" y="4504781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/>
          <p:nvPr/>
        </p:nvCxnSpPr>
        <p:spPr>
          <a:xfrm flipV="1">
            <a:off x="4415834" y="265994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8" name="Straight Arrow Connector 87"/>
          <p:cNvCxnSpPr/>
          <p:nvPr/>
        </p:nvCxnSpPr>
        <p:spPr>
          <a:xfrm>
            <a:off x="4414077" y="206781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9" name="Straight Arrow Connector 88"/>
          <p:cNvCxnSpPr/>
          <p:nvPr/>
        </p:nvCxnSpPr>
        <p:spPr>
          <a:xfrm>
            <a:off x="4418193" y="2236691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>
          <a:xfrm>
            <a:off x="1172197" y="278038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1" name="Straight Arrow Connector 90"/>
          <p:cNvCxnSpPr/>
          <p:nvPr/>
        </p:nvCxnSpPr>
        <p:spPr>
          <a:xfrm>
            <a:off x="1180435" y="257032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2" name="Straight Arrow Connector 91"/>
          <p:cNvCxnSpPr/>
          <p:nvPr/>
        </p:nvCxnSpPr>
        <p:spPr>
          <a:xfrm>
            <a:off x="1163959" y="392956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3" name="Straight Arrow Connector 92"/>
          <p:cNvCxnSpPr/>
          <p:nvPr/>
        </p:nvCxnSpPr>
        <p:spPr>
          <a:xfrm>
            <a:off x="1180435" y="371950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6" name="TextBox 95"/>
          <p:cNvSpPr txBox="1"/>
          <p:nvPr/>
        </p:nvSpPr>
        <p:spPr>
          <a:xfrm>
            <a:off x="527223" y="339750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4337097" y="1868312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7598721" y="1722054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4304443" y="2266203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060149" y="236887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1060150" y="2809265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1060149" y="351394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1064418" y="396582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4435209" y="269299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7657859" y="42944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60150" y="6669959"/>
            <a:ext cx="324856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247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CDID" val="197c64ee-7b22-4c49-b4d3-dc118b4c950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MobilePay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ThemeMobilePay" id="{276DF4C3-320B-46D1-BFDC-2C01416864A5}" vid="{EDB25C19-9DCC-4BE5-AC9B-0DE7CE18F49D}"/>
    </a:ext>
  </a:extLst>
</a:theme>
</file>

<file path=ppt/theme/theme2.xml><?xml version="1.0" encoding="utf-8"?>
<a:theme xmlns:a="http://schemas.openxmlformats.org/drawingml/2006/main" name="MobilePay Dark">
  <a:themeElements>
    <a:clrScheme name="MobilePay Dark">
      <a:dk1>
        <a:srgbClr val="F5F5F2"/>
      </a:dk1>
      <a:lt1>
        <a:srgbClr val="373246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436954DC-990C-4229-AC47-033A47C2EB40}"/>
    </a:ext>
  </a:extLst>
</a:theme>
</file>

<file path=ppt/theme/theme3.xml><?xml version="1.0" encoding="utf-8"?>
<a:theme xmlns:a="http://schemas.openxmlformats.org/drawingml/2006/main" name="1_MobilePay Light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AA1E7AA0-2F7A-481B-ADF8-7A9A4ED2DEB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MobilePay</Template>
  <TotalTime>5874</TotalTime>
  <Words>570</Words>
  <Application>Microsoft Office PowerPoint</Application>
  <PresentationFormat>Custom</PresentationFormat>
  <Paragraphs>206</Paragraphs>
  <Slides>1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Arial</vt:lpstr>
      <vt:lpstr>Danske Text</vt:lpstr>
      <vt:lpstr>Paytype</vt:lpstr>
      <vt:lpstr>ThemeMobilePay</vt:lpstr>
      <vt:lpstr>MobilePay Dark</vt:lpstr>
      <vt:lpstr>1_MobilePay Ligh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anske Ban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tte Gross Søgaard</dc:creator>
  <cp:lastModifiedBy>Mette Gross Søgaard</cp:lastModifiedBy>
  <cp:revision>52</cp:revision>
  <dcterms:created xsi:type="dcterms:W3CDTF">2019-10-15T10:47:01Z</dcterms:created>
  <dcterms:modified xsi:type="dcterms:W3CDTF">2019-11-11T13:07:10Z</dcterms:modified>
</cp:coreProperties>
</file>